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7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035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F815-408F-AB0B-F952-CBFAC9D5B6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0418B56-CAC3-A5F4-4927-A17370497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418B56-CAC3-A5F4-4927-A17370497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55BC75-1747-F7D5-2EE1-FEE8F0767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20D106B-601E-8211-DD29-376518C2DB89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C9AA7DF-437B-A6AE-A60C-01EFDD66DC15}"/>
              </a:ext>
            </a:extLst>
          </p:cNvPr>
          <p:cNvGraphicFramePr>
            <a:graphicFrameLocks noGrp="1"/>
          </p:cNvGraphicFramePr>
          <p:nvPr/>
        </p:nvGraphicFramePr>
        <p:xfrm>
          <a:off x="1143463" y="1593644"/>
          <a:ext cx="16001080" cy="65405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0216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3200216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3200216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3200216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3200216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628631"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1477991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1477991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1477991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1477991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2266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0</TotalTime>
  <Words>71</Words>
  <Application>Microsoft Office PowerPoint</Application>
  <PresentationFormat>Custom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36</cp:revision>
  <dcterms:created xsi:type="dcterms:W3CDTF">2006-08-16T00:00:00Z</dcterms:created>
  <dcterms:modified xsi:type="dcterms:W3CDTF">2025-10-06T10:36:56Z</dcterms:modified>
  <cp:category/>
  <dc:identifier>DAGkDf5R9EM</dc:identifier>
</cp:coreProperties>
</file>